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9"/>
  </p:notesMasterIdLst>
  <p:handoutMasterIdLst>
    <p:handoutMasterId r:id="rId10"/>
  </p:handoutMasterIdLst>
  <p:sldIdLst>
    <p:sldId id="256" r:id="rId4"/>
    <p:sldId id="321" r:id="rId5"/>
    <p:sldId id="346" r:id="rId6"/>
    <p:sldId id="344" r:id="rId7"/>
    <p:sldId id="345" r:id="rId8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98" d="100"/>
          <a:sy n="98" d="100"/>
        </p:scale>
        <p:origin x="3150" y="72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rson Santos" userId="6c4494c9-e300-475e-8570-19c96c3d8172" providerId="ADAL" clId="{B23C8B40-AD8D-4E56-93BA-25514E5730F6}"/>
    <pc:docChg chg="modSld">
      <pc:chgData name="Gerson Santos" userId="6c4494c9-e300-475e-8570-19c96c3d8172" providerId="ADAL" clId="{B23C8B40-AD8D-4E56-93BA-25514E5730F6}" dt="2020-02-06T21:46:05.143" v="127"/>
      <pc:docMkLst>
        <pc:docMk/>
      </pc:docMkLst>
      <pc:sldChg chg="addSp modSp">
        <pc:chgData name="Gerson Santos" userId="6c4494c9-e300-475e-8570-19c96c3d8172" providerId="ADAL" clId="{B23C8B40-AD8D-4E56-93BA-25514E5730F6}" dt="2020-02-06T21:46:05.143" v="127"/>
        <pc:sldMkLst>
          <pc:docMk/>
          <pc:sldMk cId="220032209" sldId="344"/>
        </pc:sldMkLst>
        <pc:spChg chg="mod">
          <ac:chgData name="Gerson Santos" userId="6c4494c9-e300-475e-8570-19c96c3d8172" providerId="ADAL" clId="{B23C8B40-AD8D-4E56-93BA-25514E5730F6}" dt="2020-02-06T21:44:20.589" v="26" actId="20577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6:04.036" v="126" actId="1076"/>
          <ac:spMkLst>
            <pc:docMk/>
            <pc:sldMk cId="220032209" sldId="344"/>
            <ac:spMk id="13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4:36.572" v="50" actId="20577"/>
          <ac:spMkLst>
            <pc:docMk/>
            <pc:sldMk cId="220032209" sldId="344"/>
            <ac:spMk id="1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24.118" v="107" actId="20577"/>
          <ac:spMkLst>
            <pc:docMk/>
            <pc:sldMk cId="220032209" sldId="344"/>
            <ac:spMk id="17" creationId="{4997F601-006F-4BC7-9604-88E30DA500D9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19" creationId="{EA04D008-B1AB-4DD1-889C-7079A8EF0260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 Santos" userId="6c4494c9-e300-475e-8570-19c96c3d8172" providerId="ADAL" clId="{B23C8B40-AD8D-4E56-93BA-25514E5730F6}" dt="2020-02-06T21:44:47.551" v="68" actId="20577"/>
          <ac:spMkLst>
            <pc:docMk/>
            <pc:sldMk cId="220032209" sldId="344"/>
            <ac:spMk id="2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44.970" v="125" actId="20577"/>
          <ac:spMkLst>
            <pc:docMk/>
            <pc:sldMk cId="220032209" sldId="344"/>
            <ac:spMk id="27" creationId="{4997F601-006F-4BC7-9604-88E30DA500D9}"/>
          </ac:spMkLst>
        </pc:spChg>
      </pc:sldChg>
      <pc:sldChg chg="modSp">
        <pc:chgData name="Gerson Santos" userId="6c4494c9-e300-475e-8570-19c96c3d8172" providerId="ADAL" clId="{B23C8B40-AD8D-4E56-93BA-25514E5730F6}" dt="2020-02-06T18:06:52.837" v="3" actId="20577"/>
        <pc:sldMkLst>
          <pc:docMk/>
          <pc:sldMk cId="4208443087" sldId="346"/>
        </pc:sldMkLst>
        <pc:spChg chg="mod">
          <ac:chgData name="Gerson Santos" userId="6c4494c9-e300-475e-8570-19c96c3d8172" providerId="ADAL" clId="{B23C8B40-AD8D-4E56-93BA-25514E5730F6}" dt="2020-02-06T18:06:52.837" v="3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Gerson" userId="6c4494c9-e300-475e-8570-19c96c3d8172" providerId="ADAL" clId="{D79A2BF3-94A2-4C37-B9BC-A6A77EA4B07A}"/>
    <pc:docChg chg="custSel modSld">
      <pc:chgData name="Gerson" userId="6c4494c9-e300-475e-8570-19c96c3d8172" providerId="ADAL" clId="{D79A2BF3-94A2-4C37-B9BC-A6A77EA4B07A}" dt="2020-08-07T18:00:31.967" v="116" actId="20577"/>
      <pc:docMkLst>
        <pc:docMk/>
      </pc:docMkLst>
      <pc:sldChg chg="delSp modSp mod">
        <pc:chgData name="Gerson" userId="6c4494c9-e300-475e-8570-19c96c3d8172" providerId="ADAL" clId="{D79A2BF3-94A2-4C37-B9BC-A6A77EA4B07A}" dt="2020-08-07T18:00:07.768" v="96" actId="20577"/>
        <pc:sldMkLst>
          <pc:docMk/>
          <pc:sldMk cId="220032209" sldId="344"/>
        </pc:sldMkLst>
        <pc:spChg chg="mod">
          <ac:chgData name="Gerson" userId="6c4494c9-e300-475e-8570-19c96c3d8172" providerId="ADAL" clId="{D79A2BF3-94A2-4C37-B9BC-A6A77EA4B07A}" dt="2020-08-07T17:59:29.423" v="68" actId="1036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8:00:07.768" v="96" actId="20577"/>
          <ac:spMkLst>
            <pc:docMk/>
            <pc:sldMk cId="220032209" sldId="344"/>
            <ac:spMk id="12" creationId="{00000000-0000-0000-0000-000000000000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13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9:21.835" v="58" actId="478"/>
          <ac:spMkLst>
            <pc:docMk/>
            <pc:sldMk cId="220032209" sldId="344"/>
            <ac:spMk id="19" creationId="{EA04D008-B1AB-4DD1-889C-7079A8EF0260}"/>
          </ac:spMkLst>
        </pc:spChg>
        <pc:spChg chg="del">
          <ac:chgData name="Gerson" userId="6c4494c9-e300-475e-8570-19c96c3d8172" providerId="ADAL" clId="{D79A2BF3-94A2-4C37-B9BC-A6A77EA4B07A}" dt="2020-08-07T17:59:23.292" v="59" actId="478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" userId="6c4494c9-e300-475e-8570-19c96c3d8172" providerId="ADAL" clId="{D79A2BF3-94A2-4C37-B9BC-A6A77EA4B07A}" dt="2020-08-07T17:59:56.376" v="79" actId="1037"/>
          <ac:spMkLst>
            <pc:docMk/>
            <pc:sldMk cId="220032209" sldId="344"/>
            <ac:spMk id="2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54.750" v="78" actId="1038"/>
          <ac:spMkLst>
            <pc:docMk/>
            <pc:sldMk cId="220032209" sldId="344"/>
            <ac:spMk id="22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35" creationId="{4997F601-006F-4BC7-9604-88E30DA500D9}"/>
          </ac:spMkLst>
        </pc:spChg>
      </pc:sldChg>
      <pc:sldChg chg="addSp delSp modSp mod">
        <pc:chgData name="Gerson" userId="6c4494c9-e300-475e-8570-19c96c3d8172" providerId="ADAL" clId="{D79A2BF3-94A2-4C37-B9BC-A6A77EA4B07A}" dt="2020-08-07T18:00:13.768" v="97"/>
        <pc:sldMkLst>
          <pc:docMk/>
          <pc:sldMk cId="2106379755" sldId="345"/>
        </pc:sldMkLst>
        <pc:spChg chg="add mod">
          <ac:chgData name="Gerson" userId="6c4494c9-e300-475e-8570-19c96c3d8172" providerId="ADAL" clId="{D79A2BF3-94A2-4C37-B9BC-A6A77EA4B07A}" dt="2020-08-07T17:59:11.908" v="57" actId="20577"/>
          <ac:spMkLst>
            <pc:docMk/>
            <pc:sldMk cId="2106379755" sldId="345"/>
            <ac:spMk id="2" creationId="{039DCBDD-8AE2-40E0-A72E-7CABDE0FB741}"/>
          </ac:spMkLst>
        </pc:spChg>
        <pc:spChg chg="mod">
          <ac:chgData name="Gerson" userId="6c4494c9-e300-475e-8570-19c96c3d8172" providerId="ADAL" clId="{D79A2BF3-94A2-4C37-B9BC-A6A77EA4B07A}" dt="2020-08-07T18:00:13.768" v="97"/>
          <ac:spMkLst>
            <pc:docMk/>
            <pc:sldMk cId="2106379755" sldId="345"/>
            <ac:spMk id="12" creationId="{00000000-0000-0000-0000-000000000000}"/>
          </ac:spMkLst>
        </pc:spChg>
        <pc:spChg chg="del">
          <ac:chgData name="Gerson" userId="6c4494c9-e300-475e-8570-19c96c3d8172" providerId="ADAL" clId="{D79A2BF3-94A2-4C37-B9BC-A6A77EA4B07A}" dt="2020-08-07T17:58:46.997" v="16" actId="478"/>
          <ac:spMkLst>
            <pc:docMk/>
            <pc:sldMk cId="2106379755" sldId="345"/>
            <ac:spMk id="17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39.140" v="10" actId="20577"/>
          <ac:spMkLst>
            <pc:docMk/>
            <pc:sldMk cId="2106379755" sldId="345"/>
            <ac:spMk id="19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43.435" v="15" actId="20577"/>
          <ac:spMkLst>
            <pc:docMk/>
            <pc:sldMk cId="2106379755" sldId="345"/>
            <ac:spMk id="20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3.276" v="22" actId="20577"/>
          <ac:spMkLst>
            <pc:docMk/>
            <pc:sldMk cId="2106379755" sldId="345"/>
            <ac:spMk id="23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7.671" v="27" actId="20577"/>
          <ac:spMkLst>
            <pc:docMk/>
            <pc:sldMk cId="2106379755" sldId="345"/>
            <ac:spMk id="24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8:48.379" v="17" actId="478"/>
          <ac:spMkLst>
            <pc:docMk/>
            <pc:sldMk cId="2106379755" sldId="345"/>
            <ac:spMk id="35" creationId="{4997F601-006F-4BC7-9604-88E30DA500D9}"/>
          </ac:spMkLst>
        </pc:spChg>
      </pc:sldChg>
      <pc:sldChg chg="modSp mod">
        <pc:chgData name="Gerson" userId="6c4494c9-e300-475e-8570-19c96c3d8172" providerId="ADAL" clId="{D79A2BF3-94A2-4C37-B9BC-A6A77EA4B07A}" dt="2020-08-07T18:00:31.967" v="116" actId="20577"/>
        <pc:sldMkLst>
          <pc:docMk/>
          <pc:sldMk cId="4208443087" sldId="346"/>
        </pc:sldMkLst>
        <pc:spChg chg="mod">
          <ac:chgData name="Gerson" userId="6c4494c9-e300-475e-8570-19c96c3d8172" providerId="ADAL" clId="{D79A2BF3-94A2-4C37-B9BC-A6A77EA4B07A}" dt="2020-08-07T18:00:31.967" v="116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07/08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07/08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GRUPO &lt;NOME DO GRUPO&gt;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RA / NOM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RA / NOME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Antigos)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&lt;NOME DO PROJETO&gt;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9357" y="2211907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ASTINAÇÃO/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8787" y="3267454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BRIGAS NA EQUIPE 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57371" y="241247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UITA DOCUMENTAÇÃO   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413364" y="241247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AÍDA DE INTEGRANTE 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8787" y="4347574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 C  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89821" y="435669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 C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55154" y="2292250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UNCIONAR NO FIM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91198" y="3468026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8787" y="5377517"/>
            <a:ext cx="1789092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 D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&lt;NOME DO PROJETO&gt;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43043" y="197131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 A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57371" y="212444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    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55154" y="2052439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91198" y="3195446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TEM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01613" y="171970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O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15467" y="2509416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O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828678" y="1829739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O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842532" y="2619453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678347" y="1763216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039DCBDD-8AE2-40E0-A72E-7CABDE0FB741}"/>
              </a:ext>
            </a:extLst>
          </p:cNvPr>
          <p:cNvSpPr/>
          <p:nvPr/>
        </p:nvSpPr>
        <p:spPr>
          <a:xfrm>
            <a:off x="11756203" y="314026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AR</a:t>
            </a: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9</TotalTime>
  <Words>106</Words>
  <Application>Microsoft Office PowerPoint</Application>
  <PresentationFormat>Personalizar</PresentationFormat>
  <Paragraphs>45</Paragraphs>
  <Slides>5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5" baseType="lpstr">
      <vt:lpstr>Arial</vt:lpstr>
      <vt:lpstr>Calibri</vt:lpstr>
      <vt:lpstr>Exo 2</vt:lpstr>
      <vt:lpstr>MV Boli</vt:lpstr>
      <vt:lpstr>Simplon BP Medium</vt:lpstr>
      <vt:lpstr>Simplon BP Regular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erson Santos</cp:lastModifiedBy>
  <cp:revision>185</cp:revision>
  <dcterms:created xsi:type="dcterms:W3CDTF">2016-12-01T16:19:35Z</dcterms:created>
  <dcterms:modified xsi:type="dcterms:W3CDTF">2020-08-07T18:00:39Z</dcterms:modified>
</cp:coreProperties>
</file>